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56" r:id="rId2"/>
    <p:sldId id="258" r:id="rId3"/>
    <p:sldId id="257" r:id="rId4"/>
    <p:sldId id="280" r:id="rId5"/>
    <p:sldId id="279" r:id="rId6"/>
    <p:sldId id="281" r:id="rId7"/>
    <p:sldId id="282" r:id="rId8"/>
    <p:sldId id="283" r:id="rId9"/>
    <p:sldId id="284" r:id="rId10"/>
    <p:sldId id="276" r:id="rId11"/>
  </p:sldIdLst>
  <p:sldSz cx="9144000" cy="6858000" type="screen4x3"/>
  <p:notesSz cx="6797675" cy="9926638"/>
  <p:defaultTextStyle>
    <a:defPPr>
      <a:defRPr lang="ru-RU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1FBFF"/>
    <a:srgbClr val="C7CDD7"/>
    <a:srgbClr val="000066"/>
    <a:srgbClr val="003366"/>
    <a:srgbClr val="327FBE"/>
    <a:srgbClr val="E5F6FB"/>
    <a:srgbClr val="AFF7FF"/>
    <a:srgbClr val="0091FE"/>
    <a:srgbClr val="5D9FD5"/>
    <a:srgbClr val="383F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Средний стиль 1 -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29" autoAdjust="0"/>
    <p:restoredTop sz="99645" autoAdjust="0"/>
  </p:normalViewPr>
  <p:slideViewPr>
    <p:cSldViewPr>
      <p:cViewPr>
        <p:scale>
          <a:sx n="73" d="100"/>
          <a:sy n="73" d="100"/>
        </p:scale>
        <p:origin x="-2814" y="-108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6" d="100"/>
          <a:sy n="76" d="100"/>
        </p:scale>
        <p:origin x="3306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4_5">
  <dgm:title val=""/>
  <dgm:desc val=""/>
  <dgm:catLst>
    <dgm:cat type="accent4" pri="11500"/>
  </dgm:catLst>
  <dgm:styleLbl name="node0">
    <dgm:fillClrLst meth="cycle"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>
        <a:alpha val="9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>
        <a:alpha val="90000"/>
      </a:schemeClr>
      <a:schemeClr val="accent4">
        <a:alpha val="5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/>
    <dgm:txEffectClrLst/>
  </dgm:styleLbl>
  <dgm:styleLbl name="lnNode1">
    <dgm:fillClrLst>
      <a:schemeClr val="accent4">
        <a:shade val="90000"/>
      </a:schemeClr>
      <a:schemeClr val="accent4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shade val="80000"/>
        <a:alpha val="50000"/>
      </a:schemeClr>
      <a:schemeClr val="accent4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  <a:alpha val="90000"/>
      </a:schemeClr>
      <a:schemeClr val="accent4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>
      <a:schemeClr val="accent4">
        <a:shade val="90000"/>
      </a:schemeClr>
      <a:schemeClr val="accent4">
        <a:tint val="50000"/>
      </a:schemeClr>
    </dgm:fillClrLst>
    <dgm:linClrLst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>
        <a:alpha val="90000"/>
      </a:schemeClr>
      <a:schemeClr val="accent4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alpha val="90000"/>
        <a:tint val="40000"/>
      </a:schemeClr>
      <a:schemeClr val="accent4">
        <a:alpha val="5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55D918-0D48-44D3-9287-CAE1B93EB64A}" type="doc">
      <dgm:prSet loTypeId="urn:microsoft.com/office/officeart/2005/8/layout/pyramid1" loCatId="pyramid" qsTypeId="urn:microsoft.com/office/officeart/2005/8/quickstyle/simple1" qsCatId="simple" csTypeId="urn:microsoft.com/office/officeart/2005/8/colors/accent4_5" csCatId="accent4" phldr="1"/>
      <dgm:spPr/>
    </dgm:pt>
    <dgm:pt modelId="{F014B99B-BC0F-4D51-AA35-03139CBC5BDF}">
      <dgm:prSet phldrT="[Текст]" custT="1"/>
      <dgm:spPr>
        <a:solidFill>
          <a:schemeClr val="bg2">
            <a:lumMod val="90000"/>
          </a:schemeClr>
        </a:solidFill>
      </dgm:spPr>
      <dgm:t>
        <a:bodyPr/>
        <a:lstStyle/>
        <a:p>
          <a:endParaRPr lang="ru-RU" sz="1200" b="1" dirty="0" smtClean="0"/>
        </a:p>
        <a:p>
          <a:endParaRPr lang="ru-RU" sz="1200" b="1" dirty="0" smtClean="0"/>
        </a:p>
        <a:p>
          <a:r>
            <a:rPr lang="ru-RU" sz="1200" b="1" dirty="0" smtClean="0"/>
            <a:t>Федеральный </a:t>
          </a:r>
        </a:p>
        <a:p>
          <a:r>
            <a:rPr lang="ru-RU" sz="1200" b="1" dirty="0" smtClean="0"/>
            <a:t>уровень</a:t>
          </a:r>
          <a:endParaRPr lang="ru-RU" sz="1200" b="1" dirty="0"/>
        </a:p>
      </dgm:t>
    </dgm:pt>
    <dgm:pt modelId="{547044BC-B29A-41C2-9396-2C63C92CED4B}" type="parTrans" cxnId="{DF277F6E-5463-4336-ABDE-6CE9BBB5760E}">
      <dgm:prSet/>
      <dgm:spPr/>
      <dgm:t>
        <a:bodyPr/>
        <a:lstStyle/>
        <a:p>
          <a:endParaRPr lang="ru-RU" b="1"/>
        </a:p>
      </dgm:t>
    </dgm:pt>
    <dgm:pt modelId="{310293B5-AF1E-4EB5-9AC5-576D9AB28450}" type="sibTrans" cxnId="{DF277F6E-5463-4336-ABDE-6CE9BBB5760E}">
      <dgm:prSet/>
      <dgm:spPr/>
      <dgm:t>
        <a:bodyPr/>
        <a:lstStyle/>
        <a:p>
          <a:endParaRPr lang="ru-RU" b="1"/>
        </a:p>
      </dgm:t>
    </dgm:pt>
    <dgm:pt modelId="{CBB2EDB4-08BF-49DB-9282-C363CE23E3D0}">
      <dgm:prSet phldrT="[Текст]" custT="1"/>
      <dgm:spPr>
        <a:solidFill>
          <a:srgbClr val="FFC000">
            <a:alpha val="70000"/>
          </a:srgbClr>
        </a:solidFill>
      </dgm:spPr>
      <dgm:t>
        <a:bodyPr/>
        <a:lstStyle/>
        <a:p>
          <a:r>
            <a:rPr lang="ru-RU" sz="1200" b="1" dirty="0"/>
            <a:t>Региональный уровень</a:t>
          </a:r>
        </a:p>
      </dgm:t>
    </dgm:pt>
    <dgm:pt modelId="{061A8EDF-95EB-4ED1-B54D-E85549B7DDD2}" type="parTrans" cxnId="{AE28E987-068C-4050-9EA0-6987A9368CE5}">
      <dgm:prSet/>
      <dgm:spPr/>
      <dgm:t>
        <a:bodyPr/>
        <a:lstStyle/>
        <a:p>
          <a:endParaRPr lang="ru-RU" b="1"/>
        </a:p>
      </dgm:t>
    </dgm:pt>
    <dgm:pt modelId="{8A73D853-84E8-4FCE-B4F9-A28E61B55BFC}" type="sibTrans" cxnId="{AE28E987-068C-4050-9EA0-6987A9368CE5}">
      <dgm:prSet/>
      <dgm:spPr/>
      <dgm:t>
        <a:bodyPr/>
        <a:lstStyle/>
        <a:p>
          <a:endParaRPr lang="ru-RU" b="1"/>
        </a:p>
      </dgm:t>
    </dgm:pt>
    <dgm:pt modelId="{8380A261-4409-4C6B-8A07-0D64C5422F6D}">
      <dgm:prSet phldrT="[Текст]" custT="1"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ru-RU" sz="1200" b="1" dirty="0" smtClean="0"/>
            <a:t>Уровень </a:t>
          </a:r>
          <a:r>
            <a:rPr lang="ru-RU" sz="1200" b="1" dirty="0"/>
            <a:t>организации</a:t>
          </a:r>
        </a:p>
      </dgm:t>
    </dgm:pt>
    <dgm:pt modelId="{48549D1C-43AC-47BA-B869-251333E1E3E6}" type="parTrans" cxnId="{E7AC5795-AE57-4629-9DCD-7B603559995E}">
      <dgm:prSet/>
      <dgm:spPr/>
      <dgm:t>
        <a:bodyPr/>
        <a:lstStyle/>
        <a:p>
          <a:endParaRPr lang="ru-RU" b="1"/>
        </a:p>
      </dgm:t>
    </dgm:pt>
    <dgm:pt modelId="{FDF2E5F5-8F13-4FFA-81A9-3BFDEEE2F092}" type="sibTrans" cxnId="{E7AC5795-AE57-4629-9DCD-7B603559995E}">
      <dgm:prSet/>
      <dgm:spPr/>
      <dgm:t>
        <a:bodyPr/>
        <a:lstStyle/>
        <a:p>
          <a:endParaRPr lang="ru-RU" b="1"/>
        </a:p>
      </dgm:t>
    </dgm:pt>
    <dgm:pt modelId="{8C222443-D6D5-437E-8A06-7845FF64044F}" type="pres">
      <dgm:prSet presAssocID="{C055D918-0D48-44D3-9287-CAE1B93EB64A}" presName="Name0" presStyleCnt="0">
        <dgm:presLayoutVars>
          <dgm:dir/>
          <dgm:animLvl val="lvl"/>
          <dgm:resizeHandles val="exact"/>
        </dgm:presLayoutVars>
      </dgm:prSet>
      <dgm:spPr/>
    </dgm:pt>
    <dgm:pt modelId="{8E592AC7-B094-488F-86DE-8B46AA43A5F7}" type="pres">
      <dgm:prSet presAssocID="{F014B99B-BC0F-4D51-AA35-03139CBC5BDF}" presName="Name8" presStyleCnt="0"/>
      <dgm:spPr/>
    </dgm:pt>
    <dgm:pt modelId="{47753778-DDCD-4F66-8671-0963E55AC1AB}" type="pres">
      <dgm:prSet presAssocID="{F014B99B-BC0F-4D51-AA35-03139CBC5BD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58BBE6D-1C8E-4142-827F-B1B32D20364B}" type="pres">
      <dgm:prSet presAssocID="{F014B99B-BC0F-4D51-AA35-03139CBC5BD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8609C55-E487-4600-AFD0-8994D3888F22}" type="pres">
      <dgm:prSet presAssocID="{CBB2EDB4-08BF-49DB-9282-C363CE23E3D0}" presName="Name8" presStyleCnt="0"/>
      <dgm:spPr/>
    </dgm:pt>
    <dgm:pt modelId="{7099C5AD-A666-455F-9144-31509FAE35FB}" type="pres">
      <dgm:prSet presAssocID="{CBB2EDB4-08BF-49DB-9282-C363CE23E3D0}" presName="level" presStyleLbl="node1" presStyleIdx="1" presStyleCnt="3" custLinFactNeighborX="-179" custLinFactNeighborY="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64A9E2-4365-4891-A563-4210D9FE6047}" type="pres">
      <dgm:prSet presAssocID="{CBB2EDB4-08BF-49DB-9282-C363CE23E3D0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66420A-6794-4210-A8DC-A681DFE94B26}" type="pres">
      <dgm:prSet presAssocID="{8380A261-4409-4C6B-8A07-0D64C5422F6D}" presName="Name8" presStyleCnt="0"/>
      <dgm:spPr/>
    </dgm:pt>
    <dgm:pt modelId="{3405B94A-B110-4EB0-B99D-680A85764021}" type="pres">
      <dgm:prSet presAssocID="{8380A261-4409-4C6B-8A07-0D64C5422F6D}" presName="level" presStyleLbl="node1" presStyleIdx="2" presStyleCnt="3" custLinFactNeighborX="1273" custLinFactNeighborY="-969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B789FCB-B92C-4A52-BB06-4A95FA62001B}" type="pres">
      <dgm:prSet presAssocID="{8380A261-4409-4C6B-8A07-0D64C5422F6D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18D7F89-CE4A-4212-901A-01D4F74F1612}" type="presOf" srcId="{C055D918-0D48-44D3-9287-CAE1B93EB64A}" destId="{8C222443-D6D5-437E-8A06-7845FF64044F}" srcOrd="0" destOrd="0" presId="urn:microsoft.com/office/officeart/2005/8/layout/pyramid1"/>
    <dgm:cxn modelId="{496873CA-97D3-4D4F-8A9F-AC7F93B3BD1A}" type="presOf" srcId="{CBB2EDB4-08BF-49DB-9282-C363CE23E3D0}" destId="{8064A9E2-4365-4891-A563-4210D9FE6047}" srcOrd="1" destOrd="0" presId="urn:microsoft.com/office/officeart/2005/8/layout/pyramid1"/>
    <dgm:cxn modelId="{865812AE-0720-4902-9E08-E1024FB5875F}" type="presOf" srcId="{CBB2EDB4-08BF-49DB-9282-C363CE23E3D0}" destId="{7099C5AD-A666-455F-9144-31509FAE35FB}" srcOrd="0" destOrd="0" presId="urn:microsoft.com/office/officeart/2005/8/layout/pyramid1"/>
    <dgm:cxn modelId="{D85CC246-2A3A-4E80-A644-7060E0596768}" type="presOf" srcId="{F014B99B-BC0F-4D51-AA35-03139CBC5BDF}" destId="{47753778-DDCD-4F66-8671-0963E55AC1AB}" srcOrd="0" destOrd="0" presId="urn:microsoft.com/office/officeart/2005/8/layout/pyramid1"/>
    <dgm:cxn modelId="{C636AF9A-8438-4519-AD2F-5CF268DD037B}" type="presOf" srcId="{8380A261-4409-4C6B-8A07-0D64C5422F6D}" destId="{EB789FCB-B92C-4A52-BB06-4A95FA62001B}" srcOrd="1" destOrd="0" presId="urn:microsoft.com/office/officeart/2005/8/layout/pyramid1"/>
    <dgm:cxn modelId="{DF277F6E-5463-4336-ABDE-6CE9BBB5760E}" srcId="{C055D918-0D48-44D3-9287-CAE1B93EB64A}" destId="{F014B99B-BC0F-4D51-AA35-03139CBC5BDF}" srcOrd="0" destOrd="0" parTransId="{547044BC-B29A-41C2-9396-2C63C92CED4B}" sibTransId="{310293B5-AF1E-4EB5-9AC5-576D9AB28450}"/>
    <dgm:cxn modelId="{40E6C402-487C-4FFB-8A70-4FDC263B1753}" type="presOf" srcId="{8380A261-4409-4C6B-8A07-0D64C5422F6D}" destId="{3405B94A-B110-4EB0-B99D-680A85764021}" srcOrd="0" destOrd="0" presId="urn:microsoft.com/office/officeart/2005/8/layout/pyramid1"/>
    <dgm:cxn modelId="{E7AC5795-AE57-4629-9DCD-7B603559995E}" srcId="{C055D918-0D48-44D3-9287-CAE1B93EB64A}" destId="{8380A261-4409-4C6B-8A07-0D64C5422F6D}" srcOrd="2" destOrd="0" parTransId="{48549D1C-43AC-47BA-B869-251333E1E3E6}" sibTransId="{FDF2E5F5-8F13-4FFA-81A9-3BFDEEE2F092}"/>
    <dgm:cxn modelId="{FF361076-26C5-42FC-B87C-319CA50E0B13}" type="presOf" srcId="{F014B99B-BC0F-4D51-AA35-03139CBC5BDF}" destId="{158BBE6D-1C8E-4142-827F-B1B32D20364B}" srcOrd="1" destOrd="0" presId="urn:microsoft.com/office/officeart/2005/8/layout/pyramid1"/>
    <dgm:cxn modelId="{AE28E987-068C-4050-9EA0-6987A9368CE5}" srcId="{C055D918-0D48-44D3-9287-CAE1B93EB64A}" destId="{CBB2EDB4-08BF-49DB-9282-C363CE23E3D0}" srcOrd="1" destOrd="0" parTransId="{061A8EDF-95EB-4ED1-B54D-E85549B7DDD2}" sibTransId="{8A73D853-84E8-4FCE-B4F9-A28E61B55BFC}"/>
    <dgm:cxn modelId="{D497B439-405C-4BC1-BF81-2010F7D48BC0}" type="presParOf" srcId="{8C222443-D6D5-437E-8A06-7845FF64044F}" destId="{8E592AC7-B094-488F-86DE-8B46AA43A5F7}" srcOrd="0" destOrd="0" presId="urn:microsoft.com/office/officeart/2005/8/layout/pyramid1"/>
    <dgm:cxn modelId="{FCF8D83E-4B51-4F7C-9CD7-C82EFDE7D1C8}" type="presParOf" srcId="{8E592AC7-B094-488F-86DE-8B46AA43A5F7}" destId="{47753778-DDCD-4F66-8671-0963E55AC1AB}" srcOrd="0" destOrd="0" presId="urn:microsoft.com/office/officeart/2005/8/layout/pyramid1"/>
    <dgm:cxn modelId="{06BBF671-2848-4D71-BD5A-A2071A70D0C3}" type="presParOf" srcId="{8E592AC7-B094-488F-86DE-8B46AA43A5F7}" destId="{158BBE6D-1C8E-4142-827F-B1B32D20364B}" srcOrd="1" destOrd="0" presId="urn:microsoft.com/office/officeart/2005/8/layout/pyramid1"/>
    <dgm:cxn modelId="{38CFBDC3-4C85-4D17-A1E5-60641464513E}" type="presParOf" srcId="{8C222443-D6D5-437E-8A06-7845FF64044F}" destId="{08609C55-E487-4600-AFD0-8994D3888F22}" srcOrd="1" destOrd="0" presId="urn:microsoft.com/office/officeart/2005/8/layout/pyramid1"/>
    <dgm:cxn modelId="{C583A069-4465-4E92-A8E0-00A8F4A46EAD}" type="presParOf" srcId="{08609C55-E487-4600-AFD0-8994D3888F22}" destId="{7099C5AD-A666-455F-9144-31509FAE35FB}" srcOrd="0" destOrd="0" presId="urn:microsoft.com/office/officeart/2005/8/layout/pyramid1"/>
    <dgm:cxn modelId="{143B1646-7289-43FF-ABD8-4DB4E81D0C72}" type="presParOf" srcId="{08609C55-E487-4600-AFD0-8994D3888F22}" destId="{8064A9E2-4365-4891-A563-4210D9FE6047}" srcOrd="1" destOrd="0" presId="urn:microsoft.com/office/officeart/2005/8/layout/pyramid1"/>
    <dgm:cxn modelId="{2370C380-3287-4C8A-BF53-3BF147F777A1}" type="presParOf" srcId="{8C222443-D6D5-437E-8A06-7845FF64044F}" destId="{4E66420A-6794-4210-A8DC-A681DFE94B26}" srcOrd="2" destOrd="0" presId="urn:microsoft.com/office/officeart/2005/8/layout/pyramid1"/>
    <dgm:cxn modelId="{F4930D9A-F09B-4E67-89EE-334923969713}" type="presParOf" srcId="{4E66420A-6794-4210-A8DC-A681DFE94B26}" destId="{3405B94A-B110-4EB0-B99D-680A85764021}" srcOrd="0" destOrd="0" presId="urn:microsoft.com/office/officeart/2005/8/layout/pyramid1"/>
    <dgm:cxn modelId="{0075681B-C7C6-4D6E-A09E-55B71B185383}" type="presParOf" srcId="{4E66420A-6794-4210-A8DC-A681DFE94B26}" destId="{EB789FCB-B92C-4A52-BB06-4A95FA62001B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7753778-DDCD-4F66-8671-0963E55AC1AB}">
      <dsp:nvSpPr>
        <dsp:cNvPr id="0" name=""/>
        <dsp:cNvSpPr/>
      </dsp:nvSpPr>
      <dsp:spPr>
        <a:xfrm>
          <a:off x="1870803" y="0"/>
          <a:ext cx="1870804" cy="1415050"/>
        </a:xfrm>
        <a:prstGeom prst="trapezoid">
          <a:avLst>
            <a:gd name="adj" fmla="val 66104"/>
          </a:avLst>
        </a:prstGeom>
        <a:solidFill>
          <a:schemeClr val="bg2">
            <a:lumMod val="9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/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Федеральный </a:t>
          </a:r>
        </a:p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</a:t>
          </a:r>
          <a:endParaRPr lang="ru-RU" sz="1200" b="1" kern="1200" dirty="0"/>
        </a:p>
      </dsp:txBody>
      <dsp:txXfrm>
        <a:off x="1870803" y="0"/>
        <a:ext cx="1870804" cy="1415050"/>
      </dsp:txXfrm>
    </dsp:sp>
    <dsp:sp modelId="{7099C5AD-A666-455F-9144-31509FAE35FB}">
      <dsp:nvSpPr>
        <dsp:cNvPr id="0" name=""/>
        <dsp:cNvSpPr/>
      </dsp:nvSpPr>
      <dsp:spPr>
        <a:xfrm>
          <a:off x="928704" y="1428762"/>
          <a:ext cx="3741608" cy="1415050"/>
        </a:xfrm>
        <a:prstGeom prst="trapezoid">
          <a:avLst>
            <a:gd name="adj" fmla="val 66104"/>
          </a:avLst>
        </a:prstGeom>
        <a:solidFill>
          <a:srgbClr val="FFC000">
            <a:alpha val="70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/>
            <a:t>Региональный уровень</a:t>
          </a:r>
        </a:p>
      </dsp:txBody>
      <dsp:txXfrm>
        <a:off x="1583485" y="1428762"/>
        <a:ext cx="2432045" cy="1415050"/>
      </dsp:txXfrm>
    </dsp:sp>
    <dsp:sp modelId="{3405B94A-B110-4EB0-B99D-680A85764021}">
      <dsp:nvSpPr>
        <dsp:cNvPr id="0" name=""/>
        <dsp:cNvSpPr/>
      </dsp:nvSpPr>
      <dsp:spPr>
        <a:xfrm>
          <a:off x="0" y="2816388"/>
          <a:ext cx="5612412" cy="1415050"/>
        </a:xfrm>
        <a:prstGeom prst="trapezoid">
          <a:avLst>
            <a:gd name="adj" fmla="val 66104"/>
          </a:avLst>
        </a:prstGeom>
        <a:solidFill>
          <a:schemeClr val="accent2">
            <a:lumMod val="75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/>
            <a:t>Уровень </a:t>
          </a:r>
          <a:r>
            <a:rPr lang="ru-RU" sz="1200" b="1" kern="1200" dirty="0"/>
            <a:t>организации</a:t>
          </a:r>
        </a:p>
      </dsp:txBody>
      <dsp:txXfrm>
        <a:off x="982172" y="2816388"/>
        <a:ext cx="3648067" cy="141505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74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731564FD-EDA2-4CF7-B7C8-B139DEF369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07614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1229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8163"/>
            <a:ext cx="2944813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14" tIns="45807" rIns="91614" bIns="4580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F3789B97-B078-4C19-A9CB-8DDBE29C8B4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50970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0" y="1484784"/>
            <a:ext cx="8328047" cy="5144830"/>
          </a:xfrm>
          <a:prstGeom prst="rect">
            <a:avLst/>
          </a:prstGeom>
        </p:spPr>
      </p:pic>
      <p:pic>
        <p:nvPicPr>
          <p:cNvPr id="11" name="Picture 2" descr="D:\Work\Bachti\!!!ВНУТРЕННИЕ\декабрь\презентация\gerb_obl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619" y="121714"/>
            <a:ext cx="868070" cy="936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10007" y="1484784"/>
            <a:ext cx="71743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6000" kern="1200" baseline="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pPr lvl="0" defTabSz="396000"/>
            <a:r>
              <a:rPr lang="ru-RU" dirty="0" smtClean="0"/>
              <a:t>Название проек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idx="1" hasCustomPrompt="1"/>
          </p:nvPr>
        </p:nvSpPr>
        <p:spPr>
          <a:xfrm>
            <a:off x="891105" y="3594393"/>
            <a:ext cx="36004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/>
              <a:t>Автор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2051720" y="121714"/>
            <a:ext cx="1008112" cy="104187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5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Логотип ведомст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7788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82" y="0"/>
            <a:ext cx="778356" cy="1264491"/>
          </a:xfrm>
          <a:prstGeom prst="rect">
            <a:avLst/>
          </a:prstGeom>
        </p:spPr>
      </p:pic>
      <p:pic>
        <p:nvPicPr>
          <p:cNvPr id="5" name="Picture 2" descr="D:\Work\Bachti\!!!ВНУТРЕННИЕ\декабрь\презентация\фотозона размер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1649" y="121714"/>
            <a:ext cx="1176868" cy="931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72981" y="760348"/>
            <a:ext cx="3629904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lvl1pPr>
              <a:defRPr lang="ru-RU" sz="3200" kern="1200" dirty="0">
                <a:solidFill>
                  <a:srgbClr val="3B4555"/>
                </a:solidFill>
                <a:latin typeface="Futura PT Medium" pitchFamily="34" charset="-52"/>
                <a:ea typeface="+mn-ea"/>
                <a:cs typeface="+mn-cs"/>
              </a:defRPr>
            </a:lvl1pPr>
          </a:lstStyle>
          <a:p>
            <a:r>
              <a:rPr lang="ru-RU" sz="3200" dirty="0" smtClean="0">
                <a:solidFill>
                  <a:srgbClr val="3B4555"/>
                </a:solidFill>
                <a:latin typeface="Futura PT Medium" pitchFamily="34" charset="-52"/>
              </a:rPr>
              <a:t>Заголовок слайда</a:t>
            </a:r>
            <a:endParaRPr lang="ru-RU" sz="3200" dirty="0">
              <a:solidFill>
                <a:srgbClr val="3B4555"/>
              </a:solidFill>
              <a:latin typeface="Futura PT Medium" pitchFamily="34" charset="-52"/>
            </a:endParaRPr>
          </a:p>
        </p:txBody>
      </p:sp>
      <p:sp>
        <p:nvSpPr>
          <p:cNvPr id="13" name="Текст 2"/>
          <p:cNvSpPr>
            <a:spLocks noGrp="1"/>
          </p:cNvSpPr>
          <p:nvPr>
            <p:ph idx="1" hasCustomPrompt="1"/>
          </p:nvPr>
        </p:nvSpPr>
        <p:spPr>
          <a:xfrm>
            <a:off x="899592" y="1556792"/>
            <a:ext cx="780347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>
              <a:defRPr lang="ru-RU" sz="2400" dirty="0" smtClean="0">
                <a:solidFill>
                  <a:srgbClr val="3B4555"/>
                </a:solidFill>
                <a:latin typeface="Futura PT Book" pitchFamily="34" charset="-52"/>
              </a:defRPr>
            </a:lvl1pPr>
            <a:lvl2pPr>
              <a:defRPr lang="ru-RU" dirty="0" smtClean="0">
                <a:latin typeface="Arial" charset="0"/>
              </a:defRPr>
            </a:lvl2pPr>
            <a:lvl3pPr>
              <a:defRPr lang="ru-RU" dirty="0" smtClean="0">
                <a:latin typeface="Arial" charset="0"/>
              </a:defRPr>
            </a:lvl3pPr>
            <a:lvl4pPr>
              <a:defRPr lang="ru-RU" dirty="0" smtClean="0">
                <a:latin typeface="Arial" charset="0"/>
              </a:defRPr>
            </a:lvl4pPr>
            <a:lvl5pPr>
              <a:defRPr lang="ru-RU" dirty="0">
                <a:latin typeface="Arial" charset="0"/>
              </a:defRPr>
            </a:lvl5pPr>
          </a:lstStyle>
          <a:p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Текст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r>
              <a:rPr lang="ru-RU" sz="2400" dirty="0" smtClean="0">
                <a:solidFill>
                  <a:srgbClr val="3B4555"/>
                </a:solidFill>
                <a:latin typeface="Futura PT Book" pitchFamily="34" charset="-52"/>
              </a:rPr>
              <a:t> </a:t>
            </a:r>
            <a:r>
              <a:rPr lang="ru-RU" sz="2400" dirty="0" err="1" smtClean="0">
                <a:solidFill>
                  <a:srgbClr val="3B4555"/>
                </a:solidFill>
                <a:latin typeface="Futura PT Book" pitchFamily="34" charset="-52"/>
              </a:rPr>
              <a:t>текст</a:t>
            </a:r>
            <a:endParaRPr lang="ru-RU" sz="2400" dirty="0" smtClean="0">
              <a:solidFill>
                <a:srgbClr val="3B4555"/>
              </a:solidFill>
              <a:latin typeface="Futura PT Book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206547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school-sad33.ucoz.ru/index/sport_bez_granic/0-154" TargetMode="External"/><Relationship Id="rId2" Type="http://schemas.openxmlformats.org/officeDocument/2006/relationships/hyperlink" Target="mailto:school-sad33@mail.ru" TargetMode="Externa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gif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Relationship Id="rId9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5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4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3" y="1484784"/>
            <a:ext cx="7670086" cy="1754326"/>
          </a:xfrm>
        </p:spPr>
        <p:txBody>
          <a:bodyPr/>
          <a:lstStyle/>
          <a:p>
            <a:r>
              <a:rPr sz="3600" smtClean="0">
                <a:latin typeface="David" pitchFamily="34" charset="-79"/>
                <a:cs typeface="David" pitchFamily="34" charset="-79"/>
              </a:rPr>
              <a:t>«Сокращение времени классного руководителя на  подготовку к родительскому собранию»</a:t>
            </a:r>
            <a:endParaRPr sz="3600">
              <a:latin typeface="David" pitchFamily="34" charset="-79"/>
              <a:cs typeface="David" pitchFamily="34" charset="-79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5000636"/>
            <a:ext cx="5072098" cy="830997"/>
          </a:xfrm>
        </p:spPr>
        <p:txBody>
          <a:bodyPr/>
          <a:lstStyle/>
          <a:p>
            <a:r>
              <a:rPr b="1" smtClean="0">
                <a:latin typeface="Times New Roman" pitchFamily="18" charset="0"/>
                <a:cs typeface="Times New Roman" pitchFamily="18" charset="0"/>
              </a:rPr>
              <a:t>МКОУ "Начальная школ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b="1" smtClean="0">
                <a:latin typeface="Times New Roman" pitchFamily="18" charset="0"/>
                <a:cs typeface="Times New Roman" pitchFamily="18" charset="0"/>
              </a:rPr>
              <a:t> детский сад №33 г. Юрги"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 descr="D:\Сайт\Эмблема\3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4348" y="1714488"/>
            <a:ext cx="7670086" cy="1200329"/>
          </a:xfrm>
        </p:spPr>
        <p:txBody>
          <a:bodyPr/>
          <a:lstStyle/>
          <a:p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sz="3600" b="1" smtClean="0">
                <a:latin typeface="Times New Roman" pitchFamily="18" charset="0"/>
                <a:cs typeface="Times New Roman" pitchFamily="18" charset="0"/>
              </a:rPr>
              <a:t>риглашаем </a:t>
            </a:r>
            <a:br>
              <a:rPr sz="3600" b="1" smtClean="0">
                <a:latin typeface="Times New Roman" pitchFamily="18" charset="0"/>
                <a:cs typeface="Times New Roman" pitchFamily="18" charset="0"/>
              </a:rPr>
            </a:br>
            <a:r>
              <a:rPr sz="3600" b="1" smtClean="0">
                <a:latin typeface="Times New Roman" pitchFamily="18" charset="0"/>
                <a:cs typeface="Times New Roman" pitchFamily="18" charset="0"/>
              </a:rPr>
              <a:t>к сотрудничеству</a:t>
            </a:r>
            <a:endParaRPr lang="ru-RU" sz="3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-32876" y="5301208"/>
            <a:ext cx="3308732" cy="1077218"/>
          </a:xfrm>
        </p:spPr>
        <p:txBody>
          <a:bodyPr/>
          <a:lstStyle/>
          <a:p>
            <a:r>
              <a:rPr sz="2000" dirty="0" smtClean="0">
                <a:latin typeface="Times New Roman" pitchFamily="18" charset="0"/>
                <a:cs typeface="Times New Roman" pitchFamily="18" charset="0"/>
                <a:hlinkClick r:id="rId2"/>
              </a:rPr>
              <a:t>school-sad33@mail.ru</a:t>
            </a:r>
            <a:endParaRPr sz="20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en-US" sz="2000" dirty="0">
                <a:latin typeface="Times New Roman" pitchFamily="18" charset="0"/>
                <a:cs typeface="Times New Roman" pitchFamily="18" charset="0"/>
                <a:hlinkClick r:id="rId3"/>
              </a:rPr>
              <a:t>http://</a:t>
            </a:r>
            <a:r>
              <a:rPr lang="en-US" sz="2000" dirty="0" smtClean="0">
                <a:latin typeface="Times New Roman" pitchFamily="18" charset="0"/>
                <a:cs typeface="Times New Roman" pitchFamily="18" charset="0"/>
                <a:hlinkClick r:id="rId3"/>
              </a:rPr>
              <a:t>school-sad33.ucoz.ru/index/sport_bez_granic/0-154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sz="20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5" name="Picture 2" descr="D:\Сайт\Эмблема\3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6376" y="116632"/>
            <a:ext cx="958702" cy="9587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3" descr="D:\Сайт\Эмблема\2072452_gerb-urga.gif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3" y="72008"/>
            <a:ext cx="632569" cy="980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328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86492" y="188640"/>
            <a:ext cx="3396635" cy="584775"/>
          </a:xfrm>
        </p:spPr>
        <p:txBody>
          <a:bodyPr/>
          <a:lstStyle/>
          <a:p>
            <a:r>
              <a:rPr lang="ru-RU" b="1" dirty="0">
                <a:latin typeface="Times New Roman" pitchFamily="18" charset="0"/>
                <a:cs typeface="Times New Roman" pitchFamily="18" charset="0"/>
              </a:rPr>
              <a:t>Команда проекта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0100" y="1214422"/>
            <a:ext cx="3600400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smtClean="0">
                <a:solidFill>
                  <a:srgbClr val="002060"/>
                </a:solidFill>
              </a:rPr>
              <a:t>Гончарова Алена Геннадьевна - заместитель директора по УВР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926" y="2357430"/>
            <a:ext cx="3600400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Шаповалова</a:t>
            </a:r>
            <a:r>
              <a:rPr lang="ru-RU" sz="1400" b="1" dirty="0" smtClean="0">
                <a:solidFill>
                  <a:srgbClr val="002060"/>
                </a:solidFill>
              </a:rPr>
              <a:t> Виктория Викторовна -учитель начальных классов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422" y="2500306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596" y="1428736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7422" y="3857628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000364" y="3643314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Фалилеева</a:t>
            </a:r>
            <a:r>
              <a:rPr lang="ru-RU" sz="1400" b="1" dirty="0" smtClean="0">
                <a:solidFill>
                  <a:srgbClr val="002060"/>
                </a:solidFill>
              </a:rPr>
              <a:t> Наталья Викторовна –учитель-логопед 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357818" y="1285860"/>
            <a:ext cx="3600400" cy="8356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Светашова</a:t>
            </a:r>
            <a:r>
              <a:rPr lang="ru-RU" sz="1400" b="1" dirty="0" smtClean="0">
                <a:solidFill>
                  <a:srgbClr val="002060"/>
                </a:solidFill>
              </a:rPr>
              <a:t> Полина Сергеевна –педагог-психолог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314" y="1428736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8860" y="5143512"/>
            <a:ext cx="552706" cy="552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3071802" y="4857760"/>
            <a:ext cx="3600400" cy="10833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l">
              <a:lnSpc>
                <a:spcPct val="115000"/>
              </a:lnSpc>
            </a:pPr>
            <a:r>
              <a:rPr lang="ru-RU" sz="1400" b="1" dirty="0" err="1" smtClean="0">
                <a:solidFill>
                  <a:srgbClr val="002060"/>
                </a:solidFill>
              </a:rPr>
              <a:t>Колмыкова</a:t>
            </a:r>
            <a:r>
              <a:rPr lang="ru-RU" sz="1400" b="1" dirty="0" smtClean="0">
                <a:solidFill>
                  <a:srgbClr val="002060"/>
                </a:solidFill>
              </a:rPr>
              <a:t> Фаина Сергеевна -учитель начальных классов МКОУ «Начальная школа – детский сад №33 г. Юрги»</a:t>
            </a:r>
            <a:endParaRPr lang="ru-RU" sz="1400" b="1" dirty="0">
              <a:solidFill>
                <a:srgbClr val="002060"/>
              </a:solidFill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562601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47161" y="116633"/>
            <a:ext cx="3497047" cy="669162"/>
          </a:xfrm>
        </p:spPr>
        <p:txBody>
          <a:bodyPr/>
          <a:lstStyle/>
          <a:p>
            <a:r>
              <a:rPr lang="ru-RU" dirty="0" smtClean="0"/>
              <a:t>Паспорт </a:t>
            </a:r>
            <a:r>
              <a:rPr lang="ru-RU" dirty="0"/>
              <a:t>проекта </a:t>
            </a:r>
            <a:br>
              <a:rPr lang="ru-RU" dirty="0"/>
            </a:br>
            <a:endParaRPr lang="ru-RU" sz="2400" dirty="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38554" y="4752280"/>
            <a:ext cx="405319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l" fontAlgn="base">
              <a:spcBef>
                <a:spcPct val="0"/>
              </a:spcBef>
              <a:spcAft>
                <a:spcPct val="0"/>
              </a:spcAft>
            </a:pPr>
            <a:endParaRPr lang="ru-RU" sz="1400" dirty="0">
              <a:solidFill>
                <a:srgbClr val="002060"/>
              </a:solidFill>
            </a:endParaRPr>
          </a:p>
          <a:p>
            <a:endParaRPr lang="ru-RU" sz="800" dirty="0">
              <a:ea typeface="Calibri"/>
              <a:cs typeface="Calibri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800" dirty="0" smtClean="0">
                <a:effectLst/>
              </a:rPr>
              <a:t> </a:t>
            </a:r>
            <a:endParaRPr lang="ru-RU" sz="800" dirty="0">
              <a:ea typeface="Calibri"/>
              <a:cs typeface="Calibri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42910" y="1298774"/>
            <a:ext cx="7959773" cy="5559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79527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6286500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71563" y="3429000"/>
            <a:ext cx="571500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714625" y="1785938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5366" name="Заголовок 1"/>
          <p:cNvSpPr>
            <a:spLocks noGrp="1"/>
          </p:cNvSpPr>
          <p:nvPr>
            <p:ph type="title"/>
          </p:nvPr>
        </p:nvSpPr>
        <p:spPr>
          <a:xfrm>
            <a:off x="0" y="142853"/>
            <a:ext cx="9144000" cy="1357322"/>
          </a:xfrm>
        </p:spPr>
        <p:txBody>
          <a:bodyPr>
            <a:norm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sz="2000" b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"</a:t>
            </a:r>
            <a:r>
              <a:rPr sz="20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кращение времени классного руководителя</a:t>
            </a:r>
            <a:br>
              <a:rPr sz="20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sz="20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  подготовку к родительскому собранию"</a:t>
            </a:r>
            <a:endParaRPr lang="ru-RU" sz="20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33350" y="333375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596" y="2071678"/>
            <a:ext cx="2071702" cy="128588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/>
              <a:t>Заместитель директора по УВР</a:t>
            </a:r>
            <a:endParaRPr lang="ru-RU" sz="1000" strike="sngStrike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/>
              <a:t>Поручение классным руководителям </a:t>
            </a:r>
            <a:endParaRPr lang="ru-RU" sz="1000" dirty="0"/>
          </a:p>
          <a:p>
            <a:pPr algn="ctr">
              <a:defRPr/>
            </a:pPr>
            <a:r>
              <a:rPr lang="ru-RU" sz="1000" dirty="0"/>
              <a:t> о </a:t>
            </a:r>
            <a:r>
              <a:rPr lang="ru-RU" sz="1000" dirty="0" smtClean="0"/>
              <a:t>проведении родительского собрания</a:t>
            </a:r>
            <a:endParaRPr lang="ru-RU" sz="1000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1-5 мин.) 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428625" y="3071813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/>
          <p:cNvSpPr/>
          <p:nvPr/>
        </p:nvSpPr>
        <p:spPr>
          <a:xfrm>
            <a:off x="3143250" y="2071688"/>
            <a:ext cx="2500313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Классный руководитель</a:t>
            </a:r>
            <a:endParaRPr lang="ru-RU" sz="10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Сбор информации  у </a:t>
            </a:r>
            <a:r>
              <a:rPr lang="ru-RU" sz="1000" dirty="0" smtClean="0">
                <a:cs typeface="Times New Roman" panose="02020603050405020304" pitchFamily="18" charset="0"/>
              </a:rPr>
              <a:t>специалистов  МКОУ  о материалах по родительским собраниям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15-40 мин.) 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5786438" y="2571750"/>
            <a:ext cx="430212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3214688" y="2928938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6429375" y="2071688"/>
            <a:ext cx="2000250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Специалисты</a:t>
            </a: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Передача материалов классному руководителю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5-15 мин.) 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572250" y="3000375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8501063" y="2571750"/>
            <a:ext cx="428625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>
            <a:off x="428625" y="4143375"/>
            <a:ext cx="714375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1357313" y="3714750"/>
            <a:ext cx="2214562" cy="1143000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/>
              <a:t>Классный руководитель</a:t>
            </a:r>
            <a:endParaRPr lang="ru-RU" sz="10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/>
              <a:t>Отбор материалов</a:t>
            </a:r>
            <a:endParaRPr lang="ru-RU" sz="1000" dirty="0"/>
          </a:p>
          <a:p>
            <a:pPr algn="ctr">
              <a:defRPr/>
            </a:pPr>
            <a:endParaRPr lang="ru-RU" sz="1000" dirty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15-40 </a:t>
            </a:r>
            <a:r>
              <a:rPr lang="ru-RU" sz="1000" dirty="0">
                <a:solidFill>
                  <a:schemeClr val="tx1"/>
                </a:solidFill>
              </a:rPr>
              <a:t>мин.) </a:t>
            </a: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1428750" y="4572000"/>
            <a:ext cx="21431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7572375" y="3714750"/>
            <a:ext cx="1428750" cy="11699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 (время протекания процесса) 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66-84 </a:t>
            </a: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мин.</a:t>
            </a: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643938" y="6715125"/>
            <a:ext cx="347662" cy="28575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B931D096-A798-4C4F-BFFF-93250402272C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4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104" name="Пятно 1 103"/>
          <p:cNvSpPr/>
          <p:nvPr/>
        </p:nvSpPr>
        <p:spPr>
          <a:xfrm>
            <a:off x="4429125" y="1714500"/>
            <a:ext cx="428625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428625" y="235743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3214688" y="2357438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6429375" y="2357438"/>
            <a:ext cx="1928813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1428750" y="4000500"/>
            <a:ext cx="21431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ятно 1 49"/>
          <p:cNvSpPr/>
          <p:nvPr/>
        </p:nvSpPr>
        <p:spPr>
          <a:xfrm>
            <a:off x="4929188" y="1643063"/>
            <a:ext cx="500062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7" name="Стрелка вправо 16"/>
          <p:cNvSpPr/>
          <p:nvPr/>
        </p:nvSpPr>
        <p:spPr>
          <a:xfrm>
            <a:off x="2500313" y="2500313"/>
            <a:ext cx="523875" cy="35718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142844" y="2143116"/>
            <a:ext cx="285752" cy="121444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55" name="Пятно 1 54"/>
          <p:cNvSpPr/>
          <p:nvPr/>
        </p:nvSpPr>
        <p:spPr>
          <a:xfrm>
            <a:off x="3357563" y="1714500"/>
            <a:ext cx="500062" cy="35718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6" name="Пятно 1 55"/>
          <p:cNvSpPr/>
          <p:nvPr/>
        </p:nvSpPr>
        <p:spPr>
          <a:xfrm>
            <a:off x="3857625" y="1714500"/>
            <a:ext cx="500063" cy="35718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1" name="Пятно 1 50"/>
          <p:cNvSpPr/>
          <p:nvPr/>
        </p:nvSpPr>
        <p:spPr>
          <a:xfrm>
            <a:off x="500063" y="1571625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71" name="Прямоугольник 70"/>
          <p:cNvSpPr/>
          <p:nvPr/>
        </p:nvSpPr>
        <p:spPr>
          <a:xfrm>
            <a:off x="4786313" y="3714750"/>
            <a:ext cx="1928812" cy="121443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/>
              <a:t>Классный руководитель</a:t>
            </a:r>
            <a:endParaRPr lang="ru-RU" sz="10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Составление плана  родительского собрания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(30-60мин</a:t>
            </a:r>
            <a:r>
              <a:rPr lang="ru-RU" sz="1000" dirty="0">
                <a:solidFill>
                  <a:schemeClr val="tx1"/>
                </a:solidFill>
              </a:rPr>
              <a:t>.)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6858016" y="3643314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83" name="Стрелка вправо 82"/>
          <p:cNvSpPr/>
          <p:nvPr/>
        </p:nvSpPr>
        <p:spPr>
          <a:xfrm>
            <a:off x="3714750" y="4143375"/>
            <a:ext cx="714375" cy="357188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4286250" y="3500438"/>
            <a:ext cx="571500" cy="3571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cxnSp>
        <p:nvCxnSpPr>
          <p:cNvPr id="101" name="Прямая соединительная линия 100"/>
          <p:cNvCxnSpPr/>
          <p:nvPr/>
        </p:nvCxnSpPr>
        <p:spPr>
          <a:xfrm>
            <a:off x="4786313" y="4000500"/>
            <a:ext cx="185737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4857750" y="4643438"/>
            <a:ext cx="1857375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Прямоугольник 73"/>
          <p:cNvSpPr/>
          <p:nvPr/>
        </p:nvSpPr>
        <p:spPr>
          <a:xfrm>
            <a:off x="5921375" y="3552825"/>
            <a:ext cx="288925" cy="231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white"/>
                </a:solidFill>
                <a:latin typeface="Calibri"/>
                <a:cs typeface="+mn-cs"/>
              </a:rPr>
              <a:t>Ш</a:t>
            </a:r>
            <a:endParaRPr lang="ru-RU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5708650" y="3532188"/>
            <a:ext cx="288925" cy="231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900" b="1" dirty="0">
                <a:solidFill>
                  <a:prstClr val="white"/>
                </a:solidFill>
                <a:latin typeface="Calibri"/>
                <a:cs typeface="+mn-cs"/>
              </a:rPr>
              <a:t>Ш</a:t>
            </a:r>
            <a:endParaRPr lang="ru-RU" dirty="0"/>
          </a:p>
        </p:txBody>
      </p:sp>
      <p:sp>
        <p:nvSpPr>
          <p:cNvPr id="53" name="Прямоугольник 12"/>
          <p:cNvSpPr>
            <a:spLocks noChangeArrowheads="1"/>
          </p:cNvSpPr>
          <p:nvPr/>
        </p:nvSpPr>
        <p:spPr bwMode="auto">
          <a:xfrm>
            <a:off x="785786" y="5214950"/>
            <a:ext cx="4572032" cy="15465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</a:pPr>
            <a:r>
              <a:rPr lang="ru-RU" sz="800" dirty="0">
                <a:solidFill>
                  <a:srgbClr val="000000"/>
                </a:solidFill>
              </a:rPr>
              <a:t> 1</a:t>
            </a:r>
            <a:r>
              <a:rPr lang="ru-RU" sz="900" dirty="0">
                <a:solidFill>
                  <a:srgbClr val="000000"/>
                </a:solidFill>
              </a:rPr>
              <a:t>.    </a:t>
            </a:r>
            <a:r>
              <a:rPr lang="ru-RU" sz="900" dirty="0" smtClean="0">
                <a:solidFill>
                  <a:srgbClr val="000000"/>
                </a:solidFill>
              </a:rPr>
              <a:t>Отсутствие электронной формы </a:t>
            </a:r>
            <a:r>
              <a:rPr lang="ru-RU" sz="900" dirty="0">
                <a:solidFill>
                  <a:srgbClr val="000000"/>
                </a:solidFill>
              </a:rPr>
              <a:t>по сбору информации о </a:t>
            </a:r>
            <a:r>
              <a:rPr lang="ru-RU" sz="900" dirty="0" smtClean="0">
                <a:solidFill>
                  <a:srgbClr val="000000"/>
                </a:solidFill>
              </a:rPr>
              <a:t>готовых темах специалистов</a:t>
            </a:r>
            <a:endParaRPr lang="ru-RU" sz="900" dirty="0">
              <a:solidFill>
                <a:srgbClr val="000000"/>
              </a:solidFill>
            </a:endParaRPr>
          </a:p>
          <a:p>
            <a:pPr marL="342900" indent="-342900" algn="just">
              <a:lnSpc>
                <a:spcPct val="150000"/>
              </a:lnSpc>
            </a:pPr>
            <a:r>
              <a:rPr lang="ru-RU" sz="900" dirty="0">
                <a:solidFill>
                  <a:srgbClr val="000000"/>
                </a:solidFill>
              </a:rPr>
              <a:t>2.        </a:t>
            </a:r>
            <a:r>
              <a:rPr lang="ru-RU" sz="900" dirty="0" smtClean="0">
                <a:solidFill>
                  <a:srgbClr val="000000"/>
                </a:solidFill>
              </a:rPr>
              <a:t>Несогласованность  действий всех участников образовательного процесса</a:t>
            </a:r>
          </a:p>
          <a:p>
            <a:pPr marL="342900" indent="-342900" algn="just">
              <a:lnSpc>
                <a:spcPct val="150000"/>
              </a:lnSpc>
            </a:pPr>
            <a:r>
              <a:rPr lang="ru-RU" sz="900" dirty="0" smtClean="0"/>
              <a:t>3.        Потери при определении  единой темы собрания</a:t>
            </a:r>
            <a:endParaRPr lang="ru-RU" sz="900" dirty="0" smtClean="0">
              <a:solidFill>
                <a:srgbClr val="000000"/>
              </a:solidFill>
            </a:endParaRPr>
          </a:p>
          <a:p>
            <a:pPr marL="342900" indent="-342900" algn="just">
              <a:lnSpc>
                <a:spcPct val="150000"/>
              </a:lnSpc>
            </a:pPr>
            <a:r>
              <a:rPr lang="ru-RU" sz="900" dirty="0" smtClean="0">
                <a:solidFill>
                  <a:srgbClr val="000000"/>
                </a:solidFill>
              </a:rPr>
              <a:t>4</a:t>
            </a:r>
            <a:r>
              <a:rPr lang="ru-RU" sz="900" dirty="0">
                <a:solidFill>
                  <a:srgbClr val="000000"/>
                </a:solidFill>
              </a:rPr>
              <a:t>.  </a:t>
            </a:r>
            <a:r>
              <a:rPr lang="ru-RU" sz="900" dirty="0" smtClean="0">
                <a:solidFill>
                  <a:srgbClr val="000000"/>
                </a:solidFill>
              </a:rPr>
              <a:t>Длительность </a:t>
            </a:r>
            <a:r>
              <a:rPr lang="ru-RU" sz="900" dirty="0">
                <a:solidFill>
                  <a:srgbClr val="000000"/>
                </a:solidFill>
              </a:rPr>
              <a:t>процесса уточнения </a:t>
            </a:r>
            <a:r>
              <a:rPr lang="ru-RU" sz="900" dirty="0" smtClean="0">
                <a:solidFill>
                  <a:srgbClr val="000000"/>
                </a:solidFill>
              </a:rPr>
              <a:t>готовности специалистами для выступления на родительских собраниях</a:t>
            </a:r>
            <a:endParaRPr lang="ru-RU" sz="900" dirty="0">
              <a:solidFill>
                <a:srgbClr val="000000"/>
              </a:solidFill>
            </a:endParaRPr>
          </a:p>
          <a:p>
            <a:pPr marL="342900" indent="-342900" algn="just">
              <a:lnSpc>
                <a:spcPct val="150000"/>
              </a:lnSpc>
            </a:pPr>
            <a:r>
              <a:rPr lang="ru-RU" sz="900" dirty="0"/>
              <a:t>5.        </a:t>
            </a:r>
            <a:r>
              <a:rPr lang="ru-RU" sz="900" dirty="0" smtClean="0"/>
              <a:t>Потери на излишнюю обработку данных </a:t>
            </a:r>
            <a:endParaRPr lang="ru-RU" sz="900" dirty="0"/>
          </a:p>
        </p:txBody>
      </p:sp>
      <p:sp>
        <p:nvSpPr>
          <p:cNvPr id="54" name="Пятно 1 53"/>
          <p:cNvSpPr/>
          <p:nvPr/>
        </p:nvSpPr>
        <p:spPr>
          <a:xfrm>
            <a:off x="357158" y="5143512"/>
            <a:ext cx="347637" cy="34765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7" name="Пятно 1 56"/>
          <p:cNvSpPr/>
          <p:nvPr/>
        </p:nvSpPr>
        <p:spPr>
          <a:xfrm>
            <a:off x="285720" y="5500702"/>
            <a:ext cx="500066" cy="28575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9" name="Пятно 1 58"/>
          <p:cNvSpPr/>
          <p:nvPr/>
        </p:nvSpPr>
        <p:spPr>
          <a:xfrm>
            <a:off x="285720" y="5857892"/>
            <a:ext cx="419099" cy="34765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60" name="Пятно 1 59"/>
          <p:cNvSpPr/>
          <p:nvPr/>
        </p:nvSpPr>
        <p:spPr>
          <a:xfrm>
            <a:off x="357158" y="6215082"/>
            <a:ext cx="357190" cy="28575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1" name="Пятно 1 60"/>
          <p:cNvSpPr/>
          <p:nvPr/>
        </p:nvSpPr>
        <p:spPr>
          <a:xfrm>
            <a:off x="357158" y="6500835"/>
            <a:ext cx="357190" cy="35716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62" name="Пятно 1 61"/>
          <p:cNvSpPr/>
          <p:nvPr/>
        </p:nvSpPr>
        <p:spPr>
          <a:xfrm>
            <a:off x="6858016" y="1571612"/>
            <a:ext cx="428625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3071802" y="1000108"/>
            <a:ext cx="3537570" cy="584775"/>
          </a:xfrm>
        </p:spPr>
        <p:txBody>
          <a:bodyPr/>
          <a:lstStyle/>
          <a:p>
            <a:pPr eaLnBrk="1" hangingPunct="1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Пирамида проблем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142976" y="357166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Введение в предметную область</a:t>
            </a:r>
            <a:b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r>
              <a:rPr lang="ru-RU" sz="2000" b="1" dirty="0" smtClean="0">
                <a:solidFill>
                  <a:schemeClr val="tx1"/>
                </a:solidFill>
                <a:latin typeface="Franklin Gothic Medium" pitchFamily="34" charset="0"/>
              </a:rPr>
              <a:t>(описание ситуации «как есть»)</a:t>
            </a: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6" name="Схема 5"/>
          <p:cNvGraphicFramePr/>
          <p:nvPr/>
        </p:nvGraphicFramePr>
        <p:xfrm>
          <a:off x="992162" y="2297104"/>
          <a:ext cx="5612412" cy="4245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5364163" y="5157788"/>
            <a:ext cx="3094037" cy="714375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>
                <a:solidFill>
                  <a:schemeClr val="tx1"/>
                </a:solidFill>
              </a:rPr>
              <a:t>Проблемы, решение которых требуется на локальном уровне </a:t>
            </a:r>
          </a:p>
        </p:txBody>
      </p:sp>
      <p:sp>
        <p:nvSpPr>
          <p:cNvPr id="101" name="Пятно 1 60"/>
          <p:cNvSpPr/>
          <p:nvPr/>
        </p:nvSpPr>
        <p:spPr>
          <a:xfrm>
            <a:off x="1619250" y="5949950"/>
            <a:ext cx="430213" cy="361950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54" name="Пятно 1 60"/>
          <p:cNvSpPr/>
          <p:nvPr/>
        </p:nvSpPr>
        <p:spPr>
          <a:xfrm>
            <a:off x="2428860" y="5929330"/>
            <a:ext cx="430213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2</a:t>
            </a:r>
          </a:p>
        </p:txBody>
      </p:sp>
      <p:sp>
        <p:nvSpPr>
          <p:cNvPr id="96" name="Пятно 1 60"/>
          <p:cNvSpPr/>
          <p:nvPr/>
        </p:nvSpPr>
        <p:spPr>
          <a:xfrm>
            <a:off x="3143240" y="5929330"/>
            <a:ext cx="43180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3</a:t>
            </a:r>
          </a:p>
        </p:txBody>
      </p:sp>
      <p:sp>
        <p:nvSpPr>
          <p:cNvPr id="2" name="Пятно 1 60"/>
          <p:cNvSpPr/>
          <p:nvPr/>
        </p:nvSpPr>
        <p:spPr>
          <a:xfrm>
            <a:off x="3786182" y="5929330"/>
            <a:ext cx="50165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>
                <a:solidFill>
                  <a:schemeClr val="bg1"/>
                </a:solidFill>
                <a:cs typeface="Arial" pitchFamily="34" charset="0"/>
              </a:rPr>
              <a:t>4</a:t>
            </a:r>
          </a:p>
        </p:txBody>
      </p:sp>
      <p:sp>
        <p:nvSpPr>
          <p:cNvPr id="3" name="Пятно 1 60"/>
          <p:cNvSpPr/>
          <p:nvPr/>
        </p:nvSpPr>
        <p:spPr>
          <a:xfrm>
            <a:off x="4643438" y="5929330"/>
            <a:ext cx="501650" cy="360363"/>
          </a:xfrm>
          <a:prstGeom prst="irregularSeal1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  <a:cs typeface="Arial" pitchFamily="34" charset="0"/>
              </a:rPr>
              <a:t>5</a:t>
            </a:r>
          </a:p>
        </p:txBody>
      </p:sp>
      <p:sp>
        <p:nvSpPr>
          <p:cNvPr id="14" name="Прямоугольник 12"/>
          <p:cNvSpPr>
            <a:spLocks noChangeArrowheads="1"/>
          </p:cNvSpPr>
          <p:nvPr/>
        </p:nvSpPr>
        <p:spPr bwMode="auto">
          <a:xfrm>
            <a:off x="5072063" y="1714489"/>
            <a:ext cx="3786217" cy="2862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800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1.        Отсутствие </a:t>
            </a:r>
            <a:r>
              <a:rPr lang="ru-RU" sz="1200" dirty="0" smtClean="0">
                <a:solidFill>
                  <a:srgbClr val="000000"/>
                </a:solidFill>
              </a:rPr>
              <a:t>электронной формы </a:t>
            </a:r>
            <a:r>
              <a:rPr lang="ru-RU" sz="1200" dirty="0">
                <a:solidFill>
                  <a:srgbClr val="000000"/>
                </a:solidFill>
              </a:rPr>
              <a:t>по сбору информации о </a:t>
            </a:r>
            <a:r>
              <a:rPr lang="ru-RU" sz="1200" dirty="0" smtClean="0">
                <a:solidFill>
                  <a:srgbClr val="000000"/>
                </a:solidFill>
              </a:rPr>
              <a:t>готовых темах специалистов</a:t>
            </a:r>
            <a:endParaRPr lang="ru-RU" sz="12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200" dirty="0">
                <a:solidFill>
                  <a:srgbClr val="000000"/>
                </a:solidFill>
              </a:rPr>
              <a:t>2.        </a:t>
            </a:r>
            <a:r>
              <a:rPr lang="ru-RU" sz="1200" dirty="0" smtClean="0">
                <a:solidFill>
                  <a:srgbClr val="000000"/>
                </a:solidFill>
              </a:rPr>
              <a:t>Несогласованность  действий всех участников образовательного процесса</a:t>
            </a:r>
            <a:endParaRPr lang="ru-RU" sz="12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200" dirty="0"/>
              <a:t>3.        </a:t>
            </a:r>
            <a:r>
              <a:rPr lang="ru-RU" sz="1200" dirty="0" smtClean="0"/>
              <a:t>Потери при определении  единой темы собрания</a:t>
            </a:r>
            <a:endParaRPr lang="ru-RU" sz="12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200" dirty="0">
                <a:solidFill>
                  <a:srgbClr val="000000"/>
                </a:solidFill>
              </a:rPr>
              <a:t>4.        Длительность процесса уточнения </a:t>
            </a:r>
            <a:r>
              <a:rPr lang="ru-RU" sz="1200" dirty="0" smtClean="0">
                <a:solidFill>
                  <a:srgbClr val="000000"/>
                </a:solidFill>
              </a:rPr>
              <a:t>готовности специалистами для выступления на родительских собраниях</a:t>
            </a:r>
            <a:endParaRPr lang="ru-RU" sz="12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200" dirty="0"/>
              <a:t>5.          </a:t>
            </a:r>
            <a:r>
              <a:rPr lang="ru-RU" sz="1200" dirty="0" smtClean="0"/>
              <a:t>Потери на излишнюю обработку данных </a:t>
            </a:r>
            <a:endParaRPr lang="ru-RU" sz="12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 algn="ctr">
              <a:defRPr/>
            </a:pPr>
            <a:r>
              <a:rPr lang="ru-RU" sz="2000" b="1" dirty="0" smtClean="0">
                <a:solidFill>
                  <a:srgbClr val="C00000"/>
                </a:solidFill>
              </a:rPr>
              <a:t>Анализ проблем процесса </a:t>
            </a:r>
            <a:br>
              <a:rPr lang="ru-RU" sz="2000" b="1" dirty="0" smtClean="0">
                <a:solidFill>
                  <a:srgbClr val="C00000"/>
                </a:solidFill>
              </a:rPr>
            </a:b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2671" y="1872151"/>
            <a:ext cx="3657600" cy="433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sz="1100" b="1" dirty="0" smtClean="0">
                <a:solidFill>
                  <a:srgbClr val="FF0000"/>
                </a:solidFill>
              </a:rPr>
              <a:t>Отсутствие электронной формы по сбору информации о готовых темах специалистов</a:t>
            </a:r>
            <a:endParaRPr lang="ru-RU" altLang="ru-RU" sz="1100" b="1" dirty="0">
              <a:solidFill>
                <a:srgbClr val="FF0000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643306" y="1857364"/>
            <a:ext cx="3111953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</a:rPr>
              <a:t>Разработка электронной формы  по сбору информации о готовых темах специалистов</a:t>
            </a:r>
          </a:p>
          <a:p>
            <a:pPr lvl="0" algn="just">
              <a:defRPr/>
            </a:pPr>
            <a:r>
              <a:rPr lang="ru-RU" sz="1200" dirty="0" smtClean="0"/>
              <a:t> </a:t>
            </a:r>
            <a:endParaRPr lang="ru-RU" sz="1200" dirty="0"/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18896" y="2022539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4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39" name="Стрелка: вправо 3"/>
          <p:cNvSpPr/>
          <p:nvPr/>
        </p:nvSpPr>
        <p:spPr>
          <a:xfrm>
            <a:off x="350564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826696" y="207183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02059" y="2723357"/>
            <a:ext cx="3168650" cy="433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sz="1100" b="1" dirty="0" smtClean="0">
                <a:solidFill>
                  <a:srgbClr val="FF0000"/>
                </a:solidFill>
              </a:rPr>
              <a:t>Несогласованность  действий всех участников образовательного процесса</a:t>
            </a:r>
            <a:endParaRPr lang="ru-RU" sz="1200" b="1" dirty="0" smtClean="0">
              <a:solidFill>
                <a:srgbClr val="FF0000"/>
              </a:solidFill>
              <a:latin typeface="Calibri" pitchFamily="34" charset="0"/>
            </a:endParaRP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786182" y="2714620"/>
            <a:ext cx="2944813" cy="245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>
              <a:lnSpc>
                <a:spcPct val="80000"/>
              </a:lnSpc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</a:rPr>
              <a:t>Составление графика </a:t>
            </a:r>
            <a:endParaRPr lang="ru-RU" altLang="ru-RU" sz="1200" b="1" dirty="0" smtClean="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918896" y="2778274"/>
            <a:ext cx="660660" cy="2667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1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08396" y="2660799"/>
            <a:ext cx="8905875" cy="60007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7" name="Стрелка: вправо 3"/>
          <p:cNvSpPr/>
          <p:nvPr/>
        </p:nvSpPr>
        <p:spPr>
          <a:xfrm>
            <a:off x="350564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6826696" y="28274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130621" y="3480594"/>
            <a:ext cx="3478213" cy="4330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sz="1100" b="1" dirty="0" smtClean="0">
                <a:solidFill>
                  <a:srgbClr val="FF0000"/>
                </a:solidFill>
              </a:rPr>
              <a:t>Потери при определении  единой темы собрания</a:t>
            </a:r>
            <a:endParaRPr lang="ru-RU" sz="1100" b="1" dirty="0">
              <a:solidFill>
                <a:srgbClr val="FF0000"/>
              </a:solidFill>
            </a:endParaRP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41120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3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2787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4892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24284" y="4214818"/>
            <a:ext cx="3281362" cy="602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sz="1100" b="1" dirty="0" smtClean="0">
                <a:solidFill>
                  <a:srgbClr val="FF0000"/>
                </a:solidFill>
              </a:rPr>
              <a:t>Длительность процесса уточнения готовности специалистами для выступления на родительских собраниях</a:t>
            </a:r>
            <a:endParaRPr lang="ru-RU" sz="1100" b="1" dirty="0">
              <a:solidFill>
                <a:srgbClr val="FF0000"/>
              </a:solidFill>
            </a:endParaRP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4112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2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2787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4892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TextBox 41"/>
          <p:cNvSpPr txBox="1">
            <a:spLocks noChangeArrowheads="1"/>
          </p:cNvSpPr>
          <p:nvPr/>
        </p:nvSpPr>
        <p:spPr bwMode="auto">
          <a:xfrm>
            <a:off x="7941120" y="5066580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0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130621" y="4941168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5" name="Стрелка: вправо 3"/>
          <p:cNvSpPr/>
          <p:nvPr/>
        </p:nvSpPr>
        <p:spPr>
          <a:xfrm>
            <a:off x="3527871" y="510309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6" name="Стрелка: вправо 3"/>
          <p:cNvSpPr/>
          <p:nvPr/>
        </p:nvSpPr>
        <p:spPr>
          <a:xfrm>
            <a:off x="6848921" y="510309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251520" y="4980136"/>
            <a:ext cx="3281362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defRPr/>
            </a:pPr>
            <a:r>
              <a:rPr lang="ru-RU" sz="1100" b="1" dirty="0" smtClean="0">
                <a:solidFill>
                  <a:srgbClr val="FF0000"/>
                </a:solidFill>
              </a:rPr>
              <a:t> Потери на излишнюю обработку данных</a:t>
            </a:r>
            <a:r>
              <a:rPr lang="ru-RU" sz="1200" dirty="0" smtClean="0"/>
              <a:t> 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786182" y="3429000"/>
            <a:ext cx="3000396" cy="264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Перевод данных в электронную форму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3786182" y="4357694"/>
            <a:ext cx="300039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Перевод данных в электронную форму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3786182" y="5000636"/>
            <a:ext cx="3000396" cy="4357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r>
              <a:rPr lang="ru-RU" sz="1200" b="1" dirty="0" smtClean="0">
                <a:solidFill>
                  <a:srgbClr val="000000"/>
                </a:solidFill>
                <a:latin typeface="Calibri" pitchFamily="34" charset="0"/>
                <a:cs typeface="Arial" pitchFamily="34" charset="0"/>
              </a:rPr>
              <a:t>Составление данных в электронном формате</a:t>
            </a:r>
          </a:p>
        </p:txBody>
      </p:sp>
    </p:spTree>
    <p:extLst>
      <p:ext uri="{BB962C8B-B14F-4D97-AF65-F5344CB8AC3E}">
        <p14:creationId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6000750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428625" y="3500438"/>
            <a:ext cx="71437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chemeClr val="bg1"/>
                </a:solidFill>
              </a:rPr>
              <a:t>ШАГ 4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92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18437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500175"/>
          </a:xfrm>
        </p:spPr>
        <p:txBody>
          <a:bodyPr>
            <a:norm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  <a:t>Карта целевого состояния процесса</a:t>
            </a:r>
            <a:br>
              <a:rPr lang="ru-RU" sz="2000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b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sz="2000" b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"</a:t>
            </a:r>
            <a:r>
              <a:rPr sz="20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окращение времени классного руководителя</a:t>
            </a:r>
            <a:br>
              <a:rPr sz="20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sz="20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на  подготовку к родительскому собранию"</a:t>
            </a:r>
            <a:endParaRPr lang="ru-RU" sz="2000" b="1" dirty="0" smtClean="0">
              <a:solidFill>
                <a:srgbClr val="0070C0"/>
              </a:solidFill>
              <a:latin typeface="Franklin Gothic Medium" pitchFamily="34" charset="0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1214414" y="0"/>
            <a:ext cx="8686800" cy="838200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357554" y="2071678"/>
            <a:ext cx="2286016" cy="12858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Классный руководитель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Сбор информации  у специалистов  МКОУ  о материалах по родительским собраниям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4-9 мин.) 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357563" y="3071813"/>
            <a:ext cx="235743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Стрелка вправо 22"/>
          <p:cNvSpPr/>
          <p:nvPr/>
        </p:nvSpPr>
        <p:spPr>
          <a:xfrm>
            <a:off x="5643563" y="2571750"/>
            <a:ext cx="500062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" name="Прямоугольник 24"/>
          <p:cNvSpPr/>
          <p:nvPr/>
        </p:nvSpPr>
        <p:spPr>
          <a:xfrm>
            <a:off x="6143625" y="2143125"/>
            <a:ext cx="2000250" cy="121443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Специалисты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  <a:p>
            <a:pPr>
              <a:defRPr/>
            </a:pPr>
            <a:endParaRPr lang="ru-RU" sz="1000" dirty="0" smtClean="0"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Передача материалов классному руководителю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/>
              <a:t>(1-2 мин.)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6143625" y="3000375"/>
            <a:ext cx="200025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8215313" y="2643188"/>
            <a:ext cx="642937" cy="285750"/>
          </a:xfrm>
          <a:prstGeom prst="rightArrow">
            <a:avLst>
              <a:gd name="adj1" fmla="val 57442"/>
              <a:gd name="adj2" fmla="val 50000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1000125" y="3786188"/>
            <a:ext cx="2714625" cy="1143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000" dirty="0" smtClean="0"/>
              <a:t>Классный руководитель</a:t>
            </a:r>
            <a:endParaRPr lang="ru-RU" sz="1000" dirty="0">
              <a:solidFill>
                <a:srgbClr val="FF0000"/>
              </a:solidFill>
            </a:endParaRPr>
          </a:p>
          <a:p>
            <a:pPr>
              <a:defRPr/>
            </a:pPr>
            <a:endParaRPr lang="ru-RU" sz="1000" dirty="0" smtClean="0"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Передача материалов классному руководителю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 (2-3 мин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214313" y="4286250"/>
            <a:ext cx="642937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1071563" y="4643438"/>
            <a:ext cx="264318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7286644" y="3714750"/>
            <a:ext cx="1643044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 (время протекания процесса) </a:t>
            </a:r>
          </a:p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9-19 мин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.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Экономия: 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19 мин.-65 мин.</a:t>
            </a:r>
            <a:endParaRPr lang="ru-RU" sz="14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63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8643938" y="6715125"/>
            <a:ext cx="347662" cy="285750"/>
          </a:xfrm>
          <a:prstGeom prst="rect">
            <a:avLst/>
          </a:prstGeom>
        </p:spPr>
        <p:txBody>
          <a:bodyPr/>
          <a:lstStyle/>
          <a:p>
            <a:pPr algn="ctr">
              <a:defRPr/>
            </a:pPr>
            <a:fld id="{EF67B3D6-1568-4C3C-AAF9-33BB97FEF906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7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3357563" y="2357438"/>
            <a:ext cx="228600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6143625" y="235743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1071563" y="4071938"/>
            <a:ext cx="2643187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/>
          <p:cNvSpPr/>
          <p:nvPr/>
        </p:nvSpPr>
        <p:spPr>
          <a:xfrm>
            <a:off x="142844" y="2214554"/>
            <a:ext cx="28575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ХОД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4500563" y="3714750"/>
            <a:ext cx="2286000" cy="1214438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000" dirty="0" smtClean="0"/>
              <a:t>Классный руководитель</a:t>
            </a:r>
            <a:endParaRPr lang="ru-RU" sz="1000" dirty="0" smtClean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Составление плана  </a:t>
            </a:r>
          </a:p>
          <a:p>
            <a:pPr>
              <a:defRPr/>
            </a:pPr>
            <a:r>
              <a:rPr lang="ru-RU" sz="1000" dirty="0" smtClean="0">
                <a:cs typeface="Times New Roman" panose="02020603050405020304" pitchFamily="18" charset="0"/>
              </a:rPr>
              <a:t>родительского собрания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1-2 мин.) 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6858016" y="3643314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rPr>
              <a:t>ВЫХОД</a:t>
            </a:r>
          </a:p>
        </p:txBody>
      </p:sp>
      <p:sp>
        <p:nvSpPr>
          <p:cNvPr id="83" name="Стрелка вправо 82"/>
          <p:cNvSpPr/>
          <p:nvPr/>
        </p:nvSpPr>
        <p:spPr>
          <a:xfrm>
            <a:off x="3857625" y="4214813"/>
            <a:ext cx="571500" cy="357187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4357688" y="3500438"/>
            <a:ext cx="571500" cy="285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>
                <a:solidFill>
                  <a:schemeClr val="bg1"/>
                </a:solidFill>
              </a:rPr>
              <a:t>ШАГ  5</a:t>
            </a:r>
          </a:p>
        </p:txBody>
      </p:sp>
      <p:cxnSp>
        <p:nvCxnSpPr>
          <p:cNvPr id="101" name="Прямая соединительная линия 100"/>
          <p:cNvCxnSpPr/>
          <p:nvPr/>
        </p:nvCxnSpPr>
        <p:spPr>
          <a:xfrm>
            <a:off x="4572000" y="4000500"/>
            <a:ext cx="207168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Прямая соединительная линия 106"/>
          <p:cNvCxnSpPr/>
          <p:nvPr/>
        </p:nvCxnSpPr>
        <p:spPr>
          <a:xfrm>
            <a:off x="4572000" y="4572000"/>
            <a:ext cx="2214563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428596" y="2071678"/>
            <a:ext cx="2071702" cy="1285884"/>
          </a:xfrm>
          <a:prstGeom prst="rect">
            <a:avLst/>
          </a:prstGeom>
          <a:solidFill>
            <a:srgbClr val="FFFF00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>
              <a:defRPr/>
            </a:pPr>
            <a:r>
              <a:rPr lang="ru-RU" sz="1000" dirty="0" smtClean="0"/>
              <a:t>Заместитель директора по УВР</a:t>
            </a:r>
            <a:endParaRPr lang="ru-RU" sz="1000" strike="sngStrike" dirty="0" smtClean="0"/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1000" dirty="0" smtClean="0"/>
              <a:t>Поручение классным руководителям </a:t>
            </a:r>
          </a:p>
          <a:p>
            <a:pPr>
              <a:defRPr/>
            </a:pPr>
            <a:r>
              <a:rPr lang="ru-RU" sz="1000" dirty="0" smtClean="0"/>
              <a:t> о проведении родительского собрания</a:t>
            </a: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solidFill>
                  <a:schemeClr val="tx1"/>
                </a:solidFill>
              </a:rPr>
              <a:t>(1-3 мин.) 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071813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428625" y="2357438"/>
            <a:ext cx="2071688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единительная линия 40"/>
          <p:cNvCxnSpPr/>
          <p:nvPr/>
        </p:nvCxnSpPr>
        <p:spPr>
          <a:xfrm>
            <a:off x="428625" y="3071813"/>
            <a:ext cx="2071688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Стрелка вправо 31"/>
          <p:cNvSpPr/>
          <p:nvPr/>
        </p:nvSpPr>
        <p:spPr>
          <a:xfrm>
            <a:off x="2643174" y="2643182"/>
            <a:ext cx="642937" cy="28575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3714744" y="6000768"/>
            <a:ext cx="1714512" cy="369332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rgbClr val="00284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Изменилось</a:t>
            </a:r>
            <a:endParaRPr lang="ru-RU" dirty="0"/>
          </a:p>
        </p:txBody>
      </p:sp>
      <p:sp>
        <p:nvSpPr>
          <p:cNvPr id="39" name="TextBox 38"/>
          <p:cNvSpPr txBox="1"/>
          <p:nvPr/>
        </p:nvSpPr>
        <p:spPr>
          <a:xfrm>
            <a:off x="1366814" y="6010292"/>
            <a:ext cx="1928826" cy="369332"/>
          </a:xfrm>
          <a:prstGeom prst="rect">
            <a:avLst/>
          </a:prstGeom>
          <a:solidFill>
            <a:srgbClr val="FFFF00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Не изменилось</a:t>
            </a:r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14282" y="214290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79512" y="1142982"/>
          <a:ext cx="8607330" cy="5188100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338988"/>
                <a:gridCol w="2553434"/>
                <a:gridCol w="1750231"/>
                <a:gridCol w="2964677"/>
              </a:tblGrid>
              <a:tr h="47137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52902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Отсутствие электронной формы по сбору информации о готовых темах специалистов</a:t>
                      </a:r>
                      <a:endParaRPr lang="ru-RU" altLang="ru-RU" sz="11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Разработка электронной формы  по сбору информации о готовых темах специалистов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5128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lvl="0" algn="ctr"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Несогласованность  действий всех участников образовательного процесса</a:t>
                      </a:r>
                      <a:endParaRPr lang="ru-RU" sz="12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Calibri" pitchFamily="34" charset="0"/>
                        </a:rPr>
                        <a:t>Составление графика</a:t>
                      </a: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1027" name="Picture 3" descr="D:\Инфо\33 школа сад 2018-2019\Булатова К.К\Лин-проекты\фото ЛИН-ПРОЕКТОВ\IMG-20210226-WA0013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714480" y="1928802"/>
            <a:ext cx="2190733" cy="1643050"/>
          </a:xfrm>
          <a:prstGeom prst="rect">
            <a:avLst/>
          </a:prstGeom>
          <a:noFill/>
        </p:spPr>
      </p:pic>
      <p:pic>
        <p:nvPicPr>
          <p:cNvPr id="1028" name="Picture 4" descr="D:\Инфо\33 школа сад 2018-2019\Булатова К.К\Лин-проекты\фото ЛИН-ПРОЕКТОВ\IMG-20210226-WA0009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72198" y="2000240"/>
            <a:ext cx="2119296" cy="1589472"/>
          </a:xfrm>
          <a:prstGeom prst="rect">
            <a:avLst/>
          </a:prstGeom>
          <a:noFill/>
        </p:spPr>
      </p:pic>
      <p:pic>
        <p:nvPicPr>
          <p:cNvPr id="1029" name="Picture 5" descr="D:\Инфо\33 школа сад 2018-2019\Булатова К.К\Лин-проекты\фото ЛИН-ПРОЕКТОВ\IMG-20210125-WA0011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000232" y="4286256"/>
            <a:ext cx="1446620" cy="1928826"/>
          </a:xfrm>
          <a:prstGeom prst="rect">
            <a:avLst/>
          </a:prstGeom>
          <a:noFill/>
        </p:spPr>
      </p:pic>
      <p:pic>
        <p:nvPicPr>
          <p:cNvPr id="1031" name="Picture 7" descr="D:\Инфо\33 школа сад 2018-2019\Булатова К.К\Лин-проекты\фото ЛИН-ПРОЕКТОВ\IMG-20210226-WA0014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072198" y="4357694"/>
            <a:ext cx="2286016" cy="17145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6974904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7345943"/>
              </p:ext>
            </p:extLst>
          </p:nvPr>
        </p:nvGraphicFramePr>
        <p:xfrm>
          <a:off x="142844" y="214288"/>
          <a:ext cx="8643998" cy="6546199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1254538"/>
                <a:gridCol w="2654466"/>
                <a:gridCol w="1650074"/>
                <a:gridCol w="3084920"/>
              </a:tblGrid>
              <a:tr h="37569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2252904"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Потери при определении  единой темы собрания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just" fontAlgn="base" hangingPunct="0">
                        <a:lnSpc>
                          <a:spcPct val="93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000000"/>
                        </a:buClr>
                      </a:pPr>
                      <a:r>
                        <a:rPr lang="ru-RU" sz="1100" b="1" dirty="0" smtClean="0">
                          <a:solidFill>
                            <a:srgbClr val="000000"/>
                          </a:solidFill>
                          <a:latin typeface="Calibri" pitchFamily="34" charset="0"/>
                          <a:cs typeface="Arial" pitchFamily="34" charset="0"/>
                        </a:rPr>
                        <a:t>Перевод данных в электронную форму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115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r>
                        <a:rPr lang="ru-RU" sz="1100" b="1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Потери на излишнюю обработку данных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ru-RU" sz="1200" b="1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Calibri" pitchFamily="34" charset="0"/>
                        <a:cs typeface="Arial" pitchFamily="34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effectLst/>
                        </a:rPr>
                        <a:t>Создана</a:t>
                      </a:r>
                      <a:r>
                        <a:rPr lang="ru-RU" sz="1100" b="1" baseline="0" dirty="0" smtClean="0">
                          <a:effectLst/>
                        </a:rPr>
                        <a:t> локальная сеть в МКОУ, к которой имеют доступ все классные руководители, специалисты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85770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</a:t>
                      </a: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</a:t>
                      </a: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6-84 </a:t>
                      </a: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3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</a:t>
                      </a:r>
                      <a:endParaRPr lang="ru-RU" sz="1300" b="1" u="none" strike="noStrike" kern="1200" spc="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3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9-19 </a:t>
                      </a:r>
                      <a:r>
                        <a:rPr lang="ru-RU" sz="13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</a:tr>
              <a:tr h="759719"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"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и классного руководителя на  подготовку к родительскому собранию«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</a:rPr>
                        <a:t>МКОУ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1" baseline="0" dirty="0" smtClean="0">
                          <a:effectLst/>
                        </a:rPr>
                        <a:t>«Начальная </a:t>
                      </a:r>
                      <a:r>
                        <a:rPr lang="ru-RU" sz="1100" b="1" baseline="0" dirty="0" err="1" smtClean="0">
                          <a:effectLst/>
                        </a:rPr>
                        <a:t>школа-детский</a:t>
                      </a:r>
                      <a:r>
                        <a:rPr lang="ru-RU" sz="1100" b="1" baseline="0" dirty="0" smtClean="0">
                          <a:effectLst/>
                        </a:rPr>
                        <a:t> сад №33 г.Юрги»</a:t>
                      </a:r>
                      <a:endParaRPr lang="ru-RU" sz="11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100" dirty="0" smtClean="0">
                          <a:effectLst/>
                        </a:rPr>
                        <a:t>с 84 </a:t>
                      </a:r>
                      <a:r>
                        <a:rPr lang="ru-RU" sz="1100" dirty="0">
                          <a:effectLst/>
                        </a:rPr>
                        <a:t>мин. до </a:t>
                      </a:r>
                      <a:r>
                        <a:rPr lang="ru-RU" sz="1100" dirty="0" smtClean="0">
                          <a:effectLst/>
                        </a:rPr>
                        <a:t>19 мин</a:t>
                      </a:r>
                      <a:r>
                        <a:rPr lang="ru-RU" sz="1100" dirty="0">
                          <a:effectLst/>
                        </a:rPr>
                        <a:t>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2051" name="Picture 3" descr="D:\Инфо\33 школа сад 2018-2019\Булатова К.К\Лин-проекты\фото ЛИН-ПРОЕКТОВ\IMG-20210226-WA001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00166" y="785794"/>
            <a:ext cx="2476485" cy="1857364"/>
          </a:xfrm>
          <a:prstGeom prst="rect">
            <a:avLst/>
          </a:prstGeom>
          <a:noFill/>
        </p:spPr>
      </p:pic>
      <p:pic>
        <p:nvPicPr>
          <p:cNvPr id="12" name="Picture 4" descr="C:\Users\admin\Desktop\IMG-20191125-WA0014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29388" y="714356"/>
            <a:ext cx="1527674" cy="21127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52" name="Picture 4" descr="D:\Инфо\33 школа сад 2018-2019\Булатова К.К\Лин-проекты\фото ЛИН-ПРОЕКТОВ\IMG-20210226-WA0017.jp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500166" y="3071810"/>
            <a:ext cx="2428860" cy="1821645"/>
          </a:xfrm>
          <a:prstGeom prst="rect">
            <a:avLst/>
          </a:prstGeom>
          <a:noFill/>
        </p:spPr>
      </p:pic>
      <p:pic>
        <p:nvPicPr>
          <p:cNvPr id="14" name="Picture 5" descr="C:\Users\admin\Desktop\IMG_20191125_134201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29388" y="3000372"/>
            <a:ext cx="1500198" cy="20002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92</TotalTime>
  <Words>631</Words>
  <Application>Microsoft Office PowerPoint</Application>
  <PresentationFormat>Экран (4:3)</PresentationFormat>
  <Paragraphs>191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2" baseType="lpstr">
      <vt:lpstr>Оформление по умолчанию</vt:lpstr>
      <vt:lpstr>think-cell Slide</vt:lpstr>
      <vt:lpstr>«Сокращение времени классного руководителя на  подготовку к родительскому собранию»</vt:lpstr>
      <vt:lpstr>Команда проекта</vt:lpstr>
      <vt:lpstr>Паспорт проекта  </vt:lpstr>
      <vt:lpstr>Карта текущего состояния процесса "Сокращение времени классного руководителя  на  подготовку к родительскому собранию"</vt:lpstr>
      <vt:lpstr>Пирамида проблем</vt:lpstr>
      <vt:lpstr>Анализ проблем процесса  </vt:lpstr>
      <vt:lpstr>Карта целевого состояния процесса  "Сокращение времени классного руководителя  на  подготовку к родительскому собранию"</vt:lpstr>
      <vt:lpstr>Достигнутые результаты (было и стало) </vt:lpstr>
      <vt:lpstr>Презентация PowerPoint</vt:lpstr>
      <vt:lpstr>Приглашаем  к сотрудничеству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Арам Аракелян</dc:creator>
  <cp:lastModifiedBy>KompPlus</cp:lastModifiedBy>
  <cp:revision>661</cp:revision>
  <cp:lastPrinted>2019-02-18T01:46:55Z</cp:lastPrinted>
  <dcterms:created xsi:type="dcterms:W3CDTF">2007-01-29T08:57:19Z</dcterms:created>
  <dcterms:modified xsi:type="dcterms:W3CDTF">2021-03-03T07:27:03Z</dcterms:modified>
</cp:coreProperties>
</file>